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308" r:id="rId5"/>
    <p:sldId id="2147138091" r:id="rId6"/>
    <p:sldId id="2147138223" r:id="rId7"/>
    <p:sldId id="275" r:id="rId8"/>
    <p:sldId id="2076137121" r:id="rId9"/>
    <p:sldId id="2147138195" r:id="rId10"/>
    <p:sldId id="344" r:id="rId11"/>
    <p:sldId id="2147138230" r:id="rId12"/>
    <p:sldId id="2147138228" r:id="rId13"/>
    <p:sldId id="2147138229" r:id="rId14"/>
    <p:sldId id="268" r:id="rId15"/>
    <p:sldId id="2147138224" r:id="rId16"/>
    <p:sldId id="214713822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076137121"/>
            <p14:sldId id="2147138195"/>
            <p14:sldId id="344"/>
            <p14:sldId id="2147138230"/>
            <p14:sldId id="2147138228"/>
            <p14:sldId id="2147138229"/>
          </p14:sldIdLst>
        </p14:section>
        <p14:section name="Closing slide" id="{11C5BCDD-05AC-405B-8582-D9D1C38F3D19}">
          <p14:sldIdLst>
            <p14:sldId id="268"/>
            <p14:sldId id="2147138224"/>
            <p14:sldId id="21471382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C7BF4-86F5-CD49-A8E8-3A77A5D2BB22}" v="1344" dt="2024-06-17T13:24:04.95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11" autoAdjust="0"/>
    <p:restoredTop sz="58281" autoAdjust="0"/>
  </p:normalViewPr>
  <p:slideViewPr>
    <p:cSldViewPr snapToGrid="0" showGuides="1">
      <p:cViewPr varScale="1">
        <p:scale>
          <a:sx n="97" d="100"/>
          <a:sy n="97" d="100"/>
        </p:scale>
        <p:origin x="240" y="4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16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949194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8BEB1BF3-EEE7-8D9D-25CC-FC78B72221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4152945"/>
            <a:ext cx="11430000" cy="75336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DED8136E-F029-DB5C-83C1-7E5F1E6D899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2769438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439BD9C-C264-04B6-8009-73443EFDFA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spcAft>
                <a:spcPts val="0"/>
              </a:spcAft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415616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de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0999" y="1955037"/>
            <a:ext cx="11430000" cy="294792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8E9C4C32-3E52-6232-24FD-F6D8737A92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1000" y="4962569"/>
            <a:ext cx="11430000" cy="1321981"/>
          </a:xfr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228600" indent="0">
              <a:buFontTx/>
              <a:buNone/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2pPr>
          </a:lstStyle>
          <a:p>
            <a:pPr lvl="0"/>
            <a:r>
              <a:rPr lang="en-US" dirty="0"/>
              <a:t>Place code here</a:t>
            </a:r>
          </a:p>
        </p:txBody>
      </p:sp>
    </p:spTree>
    <p:extLst>
      <p:ext uri="{BB962C8B-B14F-4D97-AF65-F5344CB8AC3E}">
        <p14:creationId xmlns:p14="http://schemas.microsoft.com/office/powerpoint/2010/main" val="72787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1" r:id="rId49"/>
    <p:sldLayoutId id="2147483762" r:id="rId50"/>
    <p:sldLayoutId id="2147483763" r:id="rId5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5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2.png"/><Relationship Id="rId5" Type="http://schemas.openxmlformats.org/officeDocument/2006/relationships/image" Target="../media/image17.jpe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image" Target="../media/image27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4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DOAGOCI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 err="1"/>
              <a:t>Student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C7692-6056-46B2-E512-0759FB3D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7D33A-9385-04FB-0CC0-B70A7E92090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8FD66-5E5A-2B7A-3205-6225AA27B3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E9261-50DD-8A5B-F1A3-562699A03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A8576-31FF-8987-09BD-993D383AD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60B527-E95B-DFB0-6918-0750421D59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BD9527-5538-749A-E637-24049E723DE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79DD57F-E3E2-D169-BD1A-888DFC4F0F4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0870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877B19A-A6F2-8461-8303-8E9390F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3C9C4BA-F786-037F-115D-1D4B70D08D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8AAEBF-DB92-62C1-D03A-4A40C0975A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ED2C4-80A4-E78D-0564-A7AAFDFE38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FEC4D-507B-FEF9-CB06-E4D8A4B8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0E28A2F-3284-DC08-057E-1E3D9719FCF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1035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oradba.ch</a:t>
            </a:r>
            <a:endParaRPr lang="de-CH" sz="1800" dirty="0">
              <a:latin typeface="+mn-lt"/>
            </a:endParaRPr>
          </a:p>
          <a:p>
            <a:endParaRPr lang="de-CH" sz="18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9085" y="5868705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096000" y="5895021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stefanoehrli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0F58F125-B3E0-1085-6596-D85DE80E9D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71360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0C59CA4-474B-0B60-75F2-673D7698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5280" y="181527"/>
            <a:ext cx="3691064" cy="338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65F6E1DE-AEB0-F01F-F4F6-96C19652079E}"/>
              </a:ext>
            </a:extLst>
          </p:cNvPr>
          <p:cNvSpPr txBox="1">
            <a:spLocks/>
          </p:cNvSpPr>
          <p:nvPr/>
        </p:nvSpPr>
        <p:spPr>
          <a:xfrm>
            <a:off x="1371600" y="1737360"/>
            <a:ext cx="2560320" cy="110030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Key Benefits</a:t>
            </a: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ol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swag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Digital awards for social media, Orac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loudWorld pas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*, &amp; mo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8688BB-DE72-4D76-2C0D-C331E93CF020}"/>
              </a:ext>
            </a:extLst>
          </p:cNvPr>
          <p:cNvSpPr txBox="1"/>
          <p:nvPr/>
        </p:nvSpPr>
        <p:spPr>
          <a:xfrm>
            <a:off x="548640" y="777240"/>
            <a:ext cx="33922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Oracle Sans Tab"/>
                <a:ea typeface="+mn-ea"/>
                <a:cs typeface="Poppins" pitchFamily="2" charset="77"/>
              </a:rPr>
              <a:t>ACE Member Benefits</a:t>
            </a:r>
          </a:p>
        </p:txBody>
      </p:sp>
      <p:pic>
        <p:nvPicPr>
          <p:cNvPr id="6" name="Picture Placeholder 76">
            <a:extLst>
              <a:ext uri="{FF2B5EF4-FFF2-40B4-BE49-F238E27FC236}">
                <a16:creationId xmlns:a16="http://schemas.microsoft.com/office/drawing/2014/main" id="{B0900222-5B38-2FB4-179B-EC5B7648218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5" r="85"/>
          <a:stretch/>
        </p:blipFill>
        <p:spPr>
          <a:xfrm>
            <a:off x="548640" y="1463040"/>
            <a:ext cx="731520" cy="73152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47CF4F2C-2E56-B0A7-43D3-E797A265FDC3}"/>
              </a:ext>
            </a:extLst>
          </p:cNvPr>
          <p:cNvSpPr txBox="1">
            <a:spLocks/>
          </p:cNvSpPr>
          <p:nvPr/>
        </p:nvSpPr>
        <p:spPr>
          <a:xfrm>
            <a:off x="8869680" y="4023360"/>
            <a:ext cx="2560320" cy="5806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Cloud Account</a:t>
            </a: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$5k USD Cloud account*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C76F741-86A6-493B-C973-D5AD591FD492}"/>
              </a:ext>
            </a:extLst>
          </p:cNvPr>
          <p:cNvSpPr txBox="1">
            <a:spLocks/>
          </p:cNvSpPr>
          <p:nvPr/>
        </p:nvSpPr>
        <p:spPr>
          <a:xfrm>
            <a:off x="5120640" y="4023360"/>
            <a:ext cx="2560320" cy="219290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Networking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In-person &amp; virtual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networking opportunities for ACEs to </a:t>
            </a:r>
            <a:r>
              <a:rPr kumimoji="0" lang="en-US" sz="1600" b="1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connect with product development </a:t>
            </a:r>
            <a:r>
              <a:rPr kumimoji="0" lang="en-US" sz="1600" u="non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nd each other.</a:t>
            </a:r>
          </a:p>
          <a:p>
            <a:pPr marL="0" lvl="1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racle Sans Light" panose="020B0403020204020204" pitchFamily="34" charset="0"/>
              <a:ea typeface="Lato Light" panose="020F0502020204030203" pitchFamily="34" charset="0"/>
              <a:cs typeface="Oracle Sans Light" panose="020B0403020204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F2FAE4F-656E-3236-E5BC-7CB07D7618E7}"/>
              </a:ext>
            </a:extLst>
          </p:cNvPr>
          <p:cNvSpPr txBox="1">
            <a:spLocks/>
          </p:cNvSpPr>
          <p:nvPr/>
        </p:nvSpPr>
        <p:spPr>
          <a:xfrm>
            <a:off x="5120640" y="1737360"/>
            <a:ext cx="2560320" cy="15927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Direct Access to Product </a:t>
            </a:r>
            <a:r>
              <a:rPr lang="en-US" sz="1600" b="1" dirty="0">
                <a:solidFill>
                  <a:srgbClr val="312D2A"/>
                </a:solidFill>
                <a:latin typeface="+mj-lt"/>
                <a:ea typeface="League Spartan" charset="0"/>
                <a:cs typeface="Poppins" pitchFamily="2" charset="77"/>
              </a:rPr>
              <a:t>M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12D2A"/>
              </a:solidFill>
              <a:effectLst/>
              <a:uLnTx/>
              <a:uFillTx/>
              <a:latin typeface="+mj-lt"/>
              <a:ea typeface="League Spartan" charset="0"/>
              <a:cs typeface="Poppins" pitchFamily="2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ultiple 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direct communication channels 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to product management and fellow AC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EBD0541-3BD6-6581-C39C-6AFC6CD7176B}"/>
              </a:ext>
            </a:extLst>
          </p:cNvPr>
          <p:cNvSpPr txBox="1">
            <a:spLocks/>
          </p:cNvSpPr>
          <p:nvPr/>
        </p:nvSpPr>
        <p:spPr>
          <a:xfrm>
            <a:off x="1371600" y="4023360"/>
            <a:ext cx="2560320" cy="134652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Exclusive Cont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R="0" lvl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Exclusive </a:t>
            </a:r>
            <a:r>
              <a:rPr kumimoji="0" lang="en-US" sz="1600" b="1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monthly virtual meetings</a:t>
            </a: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 with product development teams + engaging guest speaker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284B70-89D5-FE23-7221-118EB318EE0F}"/>
              </a:ext>
            </a:extLst>
          </p:cNvPr>
          <p:cNvSpPr txBox="1">
            <a:spLocks/>
          </p:cNvSpPr>
          <p:nvPr/>
        </p:nvSpPr>
        <p:spPr>
          <a:xfrm>
            <a:off x="8869680" y="4937760"/>
            <a:ext cx="2560320" cy="151932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12D2A"/>
                </a:solidFill>
                <a:effectLst/>
                <a:uLnTx/>
                <a:uFillTx/>
                <a:latin typeface="+mj-lt"/>
                <a:ea typeface="League Spartan" charset="0"/>
                <a:cs typeface="Poppins" pitchFamily="2" charset="77"/>
              </a:rPr>
              <a:t>Travel Suppor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L="0" marR="0" lvl="0" indent="0" algn="l" defTabSz="1087636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racle Sans Light" panose="020B0403020204020204" pitchFamily="34" charset="0"/>
                <a:ea typeface="Lato Light" panose="020F0502020204030203" pitchFamily="34" charset="0"/>
                <a:cs typeface="Oracle Sans Light" panose="020B0403020204020204" pitchFamily="34" charset="0"/>
              </a:rPr>
              <a:t>ACE Directors are eligible for travel support to give presentations or lead workshops at conferences globally</a:t>
            </a:r>
          </a:p>
        </p:txBody>
      </p:sp>
      <p:pic>
        <p:nvPicPr>
          <p:cNvPr id="12" name="Picture Placeholder 130">
            <a:extLst>
              <a:ext uri="{FF2B5EF4-FFF2-40B4-BE49-F238E27FC236}">
                <a16:creationId xmlns:a16="http://schemas.microsoft.com/office/drawing/2014/main" id="{BE7BC5BF-D237-126E-E9AE-640851B215D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" b="85"/>
          <a:stretch/>
        </p:blipFill>
        <p:spPr>
          <a:xfrm>
            <a:off x="548640" y="3749040"/>
            <a:ext cx="731520" cy="731520"/>
          </a:xfrm>
          <a:prstGeom prst="rect">
            <a:avLst/>
          </a:prstGeom>
        </p:spPr>
      </p:pic>
      <p:pic>
        <p:nvPicPr>
          <p:cNvPr id="13" name="Picture Placeholder 68">
            <a:extLst>
              <a:ext uri="{FF2B5EF4-FFF2-40B4-BE49-F238E27FC236}">
                <a16:creationId xmlns:a16="http://schemas.microsoft.com/office/drawing/2014/main" id="{B94CA942-AD29-3B88-3AF7-0E541180757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5" r="85"/>
          <a:stretch/>
        </p:blipFill>
        <p:spPr>
          <a:xfrm>
            <a:off x="4297680" y="3749040"/>
            <a:ext cx="731520" cy="731520"/>
          </a:xfrm>
          <a:prstGeom prst="rect">
            <a:avLst/>
          </a:prstGeom>
        </p:spPr>
      </p:pic>
      <p:pic>
        <p:nvPicPr>
          <p:cNvPr id="14" name="Picture Placeholder 41">
            <a:extLst>
              <a:ext uri="{FF2B5EF4-FFF2-40B4-BE49-F238E27FC236}">
                <a16:creationId xmlns:a16="http://schemas.microsoft.com/office/drawing/2014/main" id="{D2D6339B-FE63-9E1F-1EB8-84BB7FE66DD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046720" y="3749040"/>
            <a:ext cx="731520" cy="731520"/>
          </a:xfrm>
          <a:prstGeom prst="rect">
            <a:avLst/>
          </a:prstGeom>
        </p:spPr>
      </p:pic>
      <p:pic>
        <p:nvPicPr>
          <p:cNvPr id="15" name="Picture Placeholder 50">
            <a:extLst>
              <a:ext uri="{FF2B5EF4-FFF2-40B4-BE49-F238E27FC236}">
                <a16:creationId xmlns:a16="http://schemas.microsoft.com/office/drawing/2014/main" id="{111D1133-79B6-6C50-3AB0-522E15DE5E7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046720" y="4754880"/>
            <a:ext cx="731520" cy="731520"/>
          </a:xfrm>
          <a:prstGeom prst="rect">
            <a:avLst/>
          </a:prstGeom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B82B3CB-285D-ABDD-AC63-7867A861400E}"/>
              </a:ext>
            </a:extLst>
          </p:cNvPr>
          <p:cNvSpPr>
            <a:spLocks noChangeAspect="1"/>
          </p:cNvSpPr>
          <p:nvPr/>
        </p:nvSpPr>
        <p:spPr>
          <a:xfrm>
            <a:off x="4279392" y="2308780"/>
            <a:ext cx="402336" cy="402336"/>
          </a:xfrm>
          <a:prstGeom prst="roundRect">
            <a:avLst>
              <a:gd name="adj" fmla="val 5084"/>
            </a:avLst>
          </a:prstGeom>
          <a:solidFill>
            <a:schemeClr val="bg1"/>
          </a:solidFill>
          <a:ln w="50800">
            <a:solidFill>
              <a:srgbClr val="FDFB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90F46A7-9CBE-F2CE-17DD-9295688937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97680" y="1463040"/>
            <a:ext cx="731520" cy="7315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18CA83-8C7D-465B-A3BF-5D1A850101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08" y="365760"/>
            <a:ext cx="1143001" cy="457200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5117B3B-E3EC-B8CF-6E14-DA1AF366FB21}"/>
              </a:ext>
            </a:extLst>
          </p:cNvPr>
          <p:cNvSpPr txBox="1">
            <a:spLocks/>
          </p:cNvSpPr>
          <p:nvPr/>
        </p:nvSpPr>
        <p:spPr>
          <a:xfrm>
            <a:off x="944880" y="6450648"/>
            <a:ext cx="57453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latin typeface="Oracle Sans Tab"/>
              </a:rPr>
              <a:t>* for Pro and Director levels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14B7876-294B-275B-C42B-D1B7EBAC5E7F}"/>
              </a:ext>
            </a:extLst>
          </p:cNvPr>
          <p:cNvSpPr txBox="1">
            <a:spLocks/>
          </p:cNvSpPr>
          <p:nvPr/>
        </p:nvSpPr>
        <p:spPr>
          <a:xfrm>
            <a:off x="762000" y="6423660"/>
            <a:ext cx="365760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58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C371504-33D9-B044-8C50-620C44A06CB1}" type="slidenum">
              <a:rPr lang="en-US" smtClean="0">
                <a:latin typeface="Oracle Sans Tab"/>
              </a:rPr>
              <a:pPr>
                <a:defRPr/>
              </a:pPr>
              <a:t>5</a:t>
            </a:fld>
            <a:endParaRPr lang="en-US" dirty="0">
              <a:latin typeface="Oracle Sans Tab"/>
            </a:endParaRPr>
          </a:p>
        </p:txBody>
      </p:sp>
    </p:spTree>
    <p:extLst>
      <p:ext uri="{BB962C8B-B14F-4D97-AF65-F5344CB8AC3E}">
        <p14:creationId xmlns:p14="http://schemas.microsoft.com/office/powerpoint/2010/main" val="405045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Cloud Guard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Security Zon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Others</a:t>
            </a:r>
            <a:endParaRPr lang="en-CH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27456568"/>
              </p:ext>
            </p:extLst>
          </p:nvPr>
        </p:nvGraphicFramePr>
        <p:xfrm>
          <a:off x="381000" y="1949450"/>
          <a:ext cx="11618596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33768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002155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813993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Cloud Guard</a:t>
                      </a:r>
                      <a:r>
                        <a:rPr lang="en-GB" sz="1800" dirty="0"/>
                        <a:t>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ntroduction, Setup, Auditing, Data Masking, Assessments, and Aler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</a:t>
                      </a:r>
                      <a:r>
                        <a:rPr lang="en-GB" sz="1800" b="0" dirty="0"/>
                        <a:t>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Other Topics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6CAD-EA6E-7C77-A1C1-CE97DDB0410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10018</TotalTime>
  <Words>853</Words>
  <Application>Microsoft Macintosh PowerPoint</Application>
  <PresentationFormat>Widescreen</PresentationFormat>
  <Paragraphs>170</Paragraphs>
  <Slides>13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ourier New</vt:lpstr>
      <vt:lpstr>Georgia</vt:lpstr>
      <vt:lpstr>Graphik</vt:lpstr>
      <vt:lpstr>GT Sectra Fine Rg</vt:lpstr>
      <vt:lpstr>Menlo</vt:lpstr>
      <vt:lpstr>Oracle Sans</vt:lpstr>
      <vt:lpstr>Oracle Sans Light</vt:lpstr>
      <vt:lpstr>Oracle Sans Tab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PowerPoint Presentation</vt:lpstr>
      <vt:lpstr>OCI Security</vt:lpstr>
      <vt:lpstr>Course Schedule</vt:lpstr>
      <vt:lpstr>OCI Lab Architecture Overview</vt:lpstr>
      <vt:lpstr>OCI Access Information</vt:lpstr>
      <vt:lpstr>Thank You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29</cp:revision>
  <cp:lastPrinted>2020-11-17T04:05:48Z</cp:lastPrinted>
  <dcterms:created xsi:type="dcterms:W3CDTF">2023-04-03T06:37:13Z</dcterms:created>
  <dcterms:modified xsi:type="dcterms:W3CDTF">2024-10-16T08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